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4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1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157C4D19-0FC1-450C-815A-53E65F58DE0A}">
          <cx:tx>
            <cx:txData>
              <cx:f>Sheet1!$B$1</cx:f>
              <cx:v>Series1</cx:v>
            </cx:txData>
          </cx:tx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endParaRPr lang="en-US" sz="1197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/>
          </a:pPr>
          <a:endParaRPr lang="en-US" sz="14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Arial"/>
          </a:endParaRPr>
        </a:p>
      </cx:txPr>
    </cx:legend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157C4D19-0FC1-450C-815A-53E65F58DE0A}">
          <cx:tx>
            <cx:txData>
              <cx:f>Sheet1!$B$1</cx:f>
              <cx:v>Series1</cx:v>
            </cx:txData>
          </cx:tx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endParaRPr lang="en-US" sz="1197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/>
          </a:pPr>
          <a:endParaRPr lang="en-US" sz="14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Arial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microsoft.com/office/2014/relationships/chartEx" Target="../charts/chartEx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image" Target="../media/image40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20CAF2-8FEB-A3BD-1E3C-BF48DBB8EA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1F6DD9C-ED29-CFA2-8959-977FBCE6A1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F6DD9C-ED29-CFA2-8959-977FBCE6A1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637DBAFB-9906-08E8-1624-C979696A4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2-Waterfall Charts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83EBF00-7EF6-B437-7CC6-3271BF54C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93378821-9C24-BEB7-D259-925C976533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75DC20E-A193-1D64-F064-E043D7B05B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0D02D72D-9F59-649C-DCCF-9FE2A1F42A6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7" name="Chart Placeholder 5">
                <a:extLst>
                  <a:ext uri="{FF2B5EF4-FFF2-40B4-BE49-F238E27FC236}">
                    <a16:creationId xmlns:a16="http://schemas.microsoft.com/office/drawing/2014/main" id="{63CD312A-FC7F-B786-1FAC-8E940355406C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7" name="Chart Placeholder 5">
                <a:extLst>
                  <a:ext uri="{FF2B5EF4-FFF2-40B4-BE49-F238E27FC236}">
                    <a16:creationId xmlns:a16="http://schemas.microsoft.com/office/drawing/2014/main" id="{63CD312A-FC7F-B786-1FAC-8E940355406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3" name="Chart Placeholder 5">
                <a:extLst>
                  <a:ext uri="{FF2B5EF4-FFF2-40B4-BE49-F238E27FC236}">
                    <a16:creationId xmlns:a16="http://schemas.microsoft.com/office/drawing/2014/main" id="{0C78187F-8C3C-B496-1119-21F5CB3F6FAE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7"/>
              </p:nvPr>
            </p:nvGraphicFramePr>
            <p:xfrm>
              <a:off x="6392863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7"/>
              </a:graphicData>
            </a:graphic>
          </p:graphicFrame>
        </mc:Choice>
        <mc:Fallback xmlns="">
          <p:pic>
            <p:nvPicPr>
              <p:cNvPr id="13" name="Chart Placeholder 5">
                <a:extLst>
                  <a:ext uri="{FF2B5EF4-FFF2-40B4-BE49-F238E27FC236}">
                    <a16:creationId xmlns:a16="http://schemas.microsoft.com/office/drawing/2014/main" id="{0C78187F-8C3C-B496-1119-21F5CB3F6FA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392863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801640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3</TotalTime>
  <Words>20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2-Waterfall Char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57</cp:revision>
  <dcterms:created xsi:type="dcterms:W3CDTF">2025-07-09T10:57:17Z</dcterms:created>
  <dcterms:modified xsi:type="dcterms:W3CDTF">2025-10-22T10:08:41Z</dcterms:modified>
  <cp:category/>
</cp:coreProperties>
</file>